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8097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" d="100"/>
          <a:sy n="15" d="100"/>
        </p:scale>
        <p:origin x="996" y="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4249D8-A4E4-4B1A-99BF-223A25B741FD}" type="datetimeFigureOut">
              <a:rPr lang="zh-CN" altLang="en-US" smtClean="0"/>
              <a:t>2025/8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9D6BD7-1358-4C81-AC10-F54E41ABFD5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4303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11414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742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739474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282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106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22025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853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545838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6" Type="http://schemas.openxmlformats.org/officeDocument/2006/relationships/notesSlide" Target="../notesSlides/notesSlide1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5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Rectangle 1">
            <a:extLst>
              <a:ext uri="{FF2B5EF4-FFF2-40B4-BE49-F238E27FC236}">
                <a16:creationId xmlns:a16="http://schemas.microsoft.com/office/drawing/2014/main" id="{7363230B-BD4F-037F-2EB6-D46BFF9EE530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C683DCD0-9251-2A68-EFB3-3F82AC881114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幻灯片" r:id="rId17" imgW="349" imgH="350" progId="TCLayout.ActiveDocument.1">
                  <p:embed/>
                </p:oleObj>
              </mc:Choice>
              <mc:Fallback>
                <p:oleObj name="think-cell 幻灯片" r:id="rId1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564963"/>
          </a:xfrm>
        </p:spPr>
        <p:txBody>
          <a:bodyPr vert="horz"/>
          <a:lstStyle/>
          <a:p>
            <a:r>
              <a:rPr lang="en-US" sz="4000" dirty="0"/>
              <a:t>{title}</a:t>
            </a:r>
          </a:p>
        </p:txBody>
      </p:sp>
      <p:cxnSp>
        <p:nvCxnSpPr>
          <p:cNvPr id="3" name="Gerader Verbinder 46">
            <a:extLst>
              <a:ext uri="{FF2B5EF4-FFF2-40B4-BE49-F238E27FC236}">
                <a16:creationId xmlns:a16="http://schemas.microsoft.com/office/drawing/2014/main" id="{85E32EB3-AE91-96B7-22E7-322DD161B684}"/>
              </a:ext>
            </a:extLst>
          </p:cNvPr>
          <p:cNvCxnSpPr>
            <a:cxnSpLocks/>
          </p:cNvCxnSpPr>
          <p:nvPr/>
        </p:nvCxnSpPr>
        <p:spPr>
          <a:xfrm>
            <a:off x="4057685" y="2372871"/>
            <a:ext cx="775172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47">
            <a:extLst>
              <a:ext uri="{FF2B5EF4-FFF2-40B4-BE49-F238E27FC236}">
                <a16:creationId xmlns:a16="http://schemas.microsoft.com/office/drawing/2014/main" id="{1313A9CC-8D5F-CB99-8F0C-3AE42D68760A}"/>
              </a:ext>
            </a:extLst>
          </p:cNvPr>
          <p:cNvCxnSpPr>
            <a:cxnSpLocks/>
          </p:cNvCxnSpPr>
          <p:nvPr/>
        </p:nvCxnSpPr>
        <p:spPr>
          <a:xfrm>
            <a:off x="4057685" y="3329370"/>
            <a:ext cx="775172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8">
            <a:extLst>
              <a:ext uri="{FF2B5EF4-FFF2-40B4-BE49-F238E27FC236}">
                <a16:creationId xmlns:a16="http://schemas.microsoft.com/office/drawing/2014/main" id="{81151C1C-A884-2B6D-046F-0134481F7A68}"/>
              </a:ext>
            </a:extLst>
          </p:cNvPr>
          <p:cNvCxnSpPr>
            <a:cxnSpLocks/>
          </p:cNvCxnSpPr>
          <p:nvPr/>
        </p:nvCxnSpPr>
        <p:spPr>
          <a:xfrm>
            <a:off x="4057685" y="4285869"/>
            <a:ext cx="775172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49">
            <a:extLst>
              <a:ext uri="{FF2B5EF4-FFF2-40B4-BE49-F238E27FC236}">
                <a16:creationId xmlns:a16="http://schemas.microsoft.com/office/drawing/2014/main" id="{161BFB11-5807-8EB6-7734-3C4FD45117EC}"/>
              </a:ext>
            </a:extLst>
          </p:cNvPr>
          <p:cNvCxnSpPr>
            <a:cxnSpLocks/>
          </p:cNvCxnSpPr>
          <p:nvPr/>
        </p:nvCxnSpPr>
        <p:spPr>
          <a:xfrm>
            <a:off x="4057685" y="5242368"/>
            <a:ext cx="775172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>
            <a:extLst>
              <a:ext uri="{FF2B5EF4-FFF2-40B4-BE49-F238E27FC236}">
                <a16:creationId xmlns:a16="http://schemas.microsoft.com/office/drawing/2014/main" id="{107A467E-BE32-B744-04B5-CE68AD8B9B02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750252" y="2513837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</a:rPr>
              <a:t>{bullet_2}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CD08BEF0-E4F8-A649-BEF1-3A21EB348B7B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750252" y="1557338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0923FFA5-9F18-E0AB-C321-0F967E6B7D9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750252" y="3470335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</a:rPr>
              <a:t>{bullet_3}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8225B4EB-EAB7-A9D6-C249-1C21A5CAC517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750252" y="4426834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</a:rPr>
              <a:t>{bullet_4}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DC52B5CE-1889-722E-2809-4C60AAA2318F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750252" y="5383334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</a:rPr>
              <a:t>{bullet_5}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4FD67F03-0F37-C336-37FE-5963CCC241A8}"/>
              </a:ext>
            </a:extLst>
          </p:cNvPr>
          <p:cNvSpPr>
            <a:spLocks/>
          </p:cNvSpPr>
          <p:nvPr/>
        </p:nvSpPr>
        <p:spPr bwMode="gray">
          <a:xfrm>
            <a:off x="4057685" y="1771512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EE724E97-CE5F-C5D7-399E-B95416CAF5D4}"/>
              </a:ext>
            </a:extLst>
          </p:cNvPr>
          <p:cNvSpPr>
            <a:spLocks/>
          </p:cNvSpPr>
          <p:nvPr/>
        </p:nvSpPr>
        <p:spPr bwMode="gray">
          <a:xfrm>
            <a:off x="4057685" y="2728010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prstClr val="black"/>
                </a:solidFill>
              </a:rPr>
              <a:t>{bullet_2_content}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745CACA6-310B-D671-2C05-791CB9FA9C8E}"/>
              </a:ext>
            </a:extLst>
          </p:cNvPr>
          <p:cNvSpPr>
            <a:spLocks/>
          </p:cNvSpPr>
          <p:nvPr/>
        </p:nvSpPr>
        <p:spPr bwMode="gray">
          <a:xfrm>
            <a:off x="4057685" y="3684509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prstClr val="black"/>
                </a:solidFill>
              </a:rPr>
              <a:t>{bullet_3_content}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C93E67EB-6E10-F874-5540-3A75CDFFC9B6}"/>
              </a:ext>
            </a:extLst>
          </p:cNvPr>
          <p:cNvSpPr>
            <a:spLocks/>
          </p:cNvSpPr>
          <p:nvPr/>
        </p:nvSpPr>
        <p:spPr bwMode="gray">
          <a:xfrm>
            <a:off x="4057685" y="4641008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prstClr val="black"/>
                </a:solidFill>
              </a:rPr>
              <a:t>{bullet_4_content}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9BB5720F-EB7A-B415-32AB-BA96960D82DB}"/>
              </a:ext>
            </a:extLst>
          </p:cNvPr>
          <p:cNvSpPr>
            <a:spLocks/>
          </p:cNvSpPr>
          <p:nvPr/>
        </p:nvSpPr>
        <p:spPr bwMode="gray">
          <a:xfrm>
            <a:off x="4057685" y="5597506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600" dirty="0">
                <a:solidFill>
                  <a:prstClr val="black"/>
                </a:solidFill>
              </a:rPr>
              <a:t>{bullet_5_content}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E5443738-F82F-71CF-606E-09F0E20C332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879014" y="2590726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2.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35403D20-2757-CB59-F091-36FA77849D87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879014" y="1634227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1.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85454902-185D-3768-1B84-084961DB670E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879014" y="3547225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3.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7BE82B82-1836-2FBA-0F75-F5866A5CDFCC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879014" y="4503723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4.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D9B4D3FF-8EAD-EADA-EBAA-2A653FCE249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879014" y="5460222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5.</a:t>
            </a:r>
          </a:p>
        </p:txBody>
      </p:sp>
      <p:cxnSp>
        <p:nvCxnSpPr>
          <p:cNvPr id="26" name="Gerader Verbinder 22">
            <a:extLst>
              <a:ext uri="{FF2B5EF4-FFF2-40B4-BE49-F238E27FC236}">
                <a16:creationId xmlns:a16="http://schemas.microsoft.com/office/drawing/2014/main" id="{C664AC45-8C74-3E87-FCCD-3BBF40BB2BF9}"/>
              </a:ext>
            </a:extLst>
          </p:cNvPr>
          <p:cNvCxnSpPr>
            <a:cxnSpLocks/>
          </p:cNvCxnSpPr>
          <p:nvPr/>
        </p:nvCxnSpPr>
        <p:spPr>
          <a:xfrm>
            <a:off x="440864" y="1557339"/>
            <a:ext cx="0" cy="258756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42">
            <a:extLst>
              <a:ext uri="{FF2B5EF4-FFF2-40B4-BE49-F238E27FC236}">
                <a16:creationId xmlns:a16="http://schemas.microsoft.com/office/drawing/2014/main" id="{687637A5-CC0E-E021-7D1C-0888448B192F}"/>
              </a:ext>
            </a:extLst>
          </p:cNvPr>
          <p:cNvCxnSpPr>
            <a:cxnSpLocks/>
          </p:cNvCxnSpPr>
          <p:nvPr/>
        </p:nvCxnSpPr>
        <p:spPr>
          <a:xfrm>
            <a:off x="440864" y="4426834"/>
            <a:ext cx="0" cy="1631066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20CF15C1-D8A7-2D9F-6E6B-07834F70802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64174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gendas, list, lists, 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408954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/HASSaL05CrGnSLVnyZT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/HASSaL05CrGnSLVnyZTwDRGF0YQAWAAAAAlBlcnNvbmFsSWQAAQAAAAAAAk5hbWUACwAAAFBlcnNvbmFsSWQAEFZlcnNpb24AAAAAAAlMYXN0V3JpdGUALd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8688754"/>
  <p:tag name="EMPOWERCHARTSPROPERTIES_A_LENGTH" val="24576"/>
  <p:tag name="RUNTIME_ID" val="d5deb12e-56a9-4197-b833-8b2d72f808d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PzQ1hbclxBn7kpOLM1Bh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PzQ1hbclxBn7kpOLM1BhkDRGF0YQAWAAAAAlBlcnNvbmFsSWQAAQAAAAAAAk5hbWUACwAAAFBlcnNvbmFsSWQAEFZlcnNpb24AAAAAAAlMYXN0V3JpdGUATN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001175"/>
  <p:tag name="EMPOWERCHARTSPROPERTIES_A_LENGTH" val="24576"/>
  <p:tag name="RUNTIME_ID" val="5157e17a-719b-453a-aa1b-f7c797e9e3a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/m7vbT35PmbL+nB7I81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/m7vbT35PmbL+nB7I81QDRGF0YQAWAAAAAlBlcnNvbmFsSWQAAQAAAAAAAk5hbWUACwAAAFBlcnNvbmFsSWQAEFZlcnNpb24AAAAAAAlMYXN0V3JpdGUAa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459136"/>
  <p:tag name="EMPOWERCHARTSPROPERTIES_A_LENGTH" val="24576"/>
  <p:tag name="RUNTIME_ID" val="a886bc6a-a9bd-41da-95fb-00eef078435c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mL2jcj1Z5Ir8Wv8ki3GCY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mL2jcj1Z5Ir8Wv8ki3GCYDRGF0YQAWAAAAAlBlcnNvbmFsSWQAAQAAAAAAAk5hbWUACwAAAFBlcnNvbmFsSWQAEFZlcnNpb24AAAAAAAlMYXN0V3JpdGUAi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787021"/>
  <p:tag name="EMPOWERCHARTSPROPERTIES_A_LENGTH" val="24576"/>
  <p:tag name="RUNTIME_ID" val="274a1fa6-b1fc-4ceb-a74c-7e2e3ea13b3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u67S5QD8dFgKzzyz3rOO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u67S5QD8dFgKzzyz3rOOYDRGF0YQAWAAAAAlBlcnNvbmFsSWQAAQAAAAAAAk5hbWUACwAAAFBlcnNvbmFsSWQAEFZlcnNpb24AAAAAAAlMYXN0V3JpdGUAqt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0099430"/>
  <p:tag name="EMPOWERCHARTSPROPERTIES_A_LENGTH" val="24576"/>
  <p:tag name="RUNTIME_ID" val="155d7f78-9094-4aaa-a015-edd0ac21d8b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78jU/xXSgFGjS1SzcYzWCc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8jU/xXSgFGjS1SzcYzWCcDRGF0YQAWAAAAAlBlcnNvbmFsSWQAAQAAAAAAAk5hbWUACwAAAFBlcnNvbmFsSWQAEFZlcnNpb24AAAAAAAlMYXN0V3JpdGUA3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1675007"/>
  <p:tag name="EMPOWERCHARTSPROPERTIES_A_LENGTH" val="24576"/>
  <p:tag name="RUNTIME_ID" val="7314422e-1a4b-494f-8611-5dc870c73168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on+XUAyGxPnsZXteDk46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on+XUAyGxPnsZXteDk46IDRGF0YQAWAAAAAlBlcnNvbmFsSWQAAQAAAAAAAk5hbWUACwAAAFBlcnNvbmFsSWQAEFZlcnNpb24AAAAAAAlMYXN0V3JpdGUAd98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1990567"/>
  <p:tag name="EMPOWERCHARTSPROPERTIES_A_LENGTH" val="24576"/>
  <p:tag name="RUNTIME_ID" val="4b56d8f3-2c64-4035-9311-fb698e26637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LprqT874NGldICyScdMr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LprqT874NGldICyScdMrYDRGF0YQAWAAAAAlBlcnNvbmFsSWQAAQAAAAAAAk5hbWUACwAAAFBlcnNvbmFsSWQAEFZlcnNpb24AAAAAAAlMYXN0V3JpdGUAlt8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2303093"/>
  <p:tag name="EMPOWERCHARTSPROPERTIES_A_LENGTH" val="24576"/>
  <p:tag name="RUNTIME_ID" val="25766c40-9315-4475-981b-5ed64880f2a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pE9Ooz8ENPkdRf0y7Cj/w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pE9Ooz8ENPkdRf0y7Cj/wDRGF0YQAWAAAAAlBlcnNvbmFsSWQAAQAAAAAAAk5hbWUACwAAAFBlcnNvbmFsSWQAEFZlcnNpb24AAAAAAAlMYXN0V3JpdGUAfd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7590894"/>
  <p:tag name="EMPOWERCHARTSPROPERTIES_A_LENGTH" val="24576"/>
  <p:tag name="RUNTIME_ID" val="16acf1ac-cceb-491d-a6d1-e6cd071ec29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1EyNwlVm4JImabasrvuEzQ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EyNwlVm4JImabasrvuEzQDRGF0YQAWAAAAAlBlcnNvbmFsSWQAAQAAAAAAAk5hbWUACwAAAFBlcnNvbmFsSWQAEFZlcnNpb24AAAAAAAlMYXN0V3JpdGUA3t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8215908"/>
  <p:tag name="EMPOWERCHARTSPROPERTIES_A_LENGTH" val="24576"/>
  <p:tag name="RUNTIME_ID" val="d8b6bc76-88c3-4d45-bdb1-8d2d63624c32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84</Words>
  <Application>Microsoft Office PowerPoint</Application>
  <PresentationFormat>宽屏</PresentationFormat>
  <Paragraphs>1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 I</dc:title>
  <dc:creator>后梦雪</dc:creator>
  <cp:lastModifiedBy>后梦雪</cp:lastModifiedBy>
  <cp:revision>4</cp:revision>
  <dcterms:created xsi:type="dcterms:W3CDTF">2025-08-22T07:01:34Z</dcterms:created>
  <dcterms:modified xsi:type="dcterms:W3CDTF">2025-08-25T07:00:57Z</dcterms:modified>
</cp:coreProperties>
</file>